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E4512B-2061-4003-B217-D762AF289481}" v="67" dt="2024-08-30T08:36:19.8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7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Sud, Sumona SBOBNG-PTIY/ESAA1" userId="0ecd988d-3a14-4d79-a3c7-38829cf83294" providerId="ADAL" clId="{D0E4512B-2061-4003-B217-D762AF289481}"/>
    <pc:docChg chg="undo redo custSel modSld">
      <pc:chgData name="Sud, Sumona SBOBNG-PTIY/ESAA1" userId="0ecd988d-3a14-4d79-a3c7-38829cf83294" providerId="ADAL" clId="{D0E4512B-2061-4003-B217-D762AF289481}" dt="2024-08-30T08:36:49.292" v="5921" actId="14100"/>
      <pc:docMkLst>
        <pc:docMk/>
      </pc:docMkLst>
      <pc:sldChg chg="addSp modSp mod">
        <pc:chgData name="Sud, Sumona SBOBNG-PTIY/ESAA1" userId="0ecd988d-3a14-4d79-a3c7-38829cf83294" providerId="ADAL" clId="{D0E4512B-2061-4003-B217-D762AF289481}" dt="2024-08-30T08:36:49.292" v="5921" actId="14100"/>
        <pc:sldMkLst>
          <pc:docMk/>
          <pc:sldMk cId="3267775274" sldId="256"/>
        </pc:sldMkLst>
        <pc:spChg chg="mod">
          <ac:chgData name="Sud, Sumona SBOBNG-PTIY/ESAA1" userId="0ecd988d-3a14-4d79-a3c7-38829cf83294" providerId="ADAL" clId="{D0E4512B-2061-4003-B217-D762AF289481}" dt="2024-08-30T02:40:45.449" v="45" actId="404"/>
          <ac:spMkLst>
            <pc:docMk/>
            <pc:sldMk cId="3267775274" sldId="256"/>
            <ac:spMk id="6" creationId="{0C37A4A8-A3C7-407F-B123-88E2E165C827}"/>
          </ac:spMkLst>
        </pc:spChg>
        <pc:spChg chg="mod">
          <ac:chgData name="Sud, Sumona SBOBNG-PTIY/ESAA1" userId="0ecd988d-3a14-4d79-a3c7-38829cf83294" providerId="ADAL" clId="{D0E4512B-2061-4003-B217-D762AF289481}" dt="2024-08-30T08:35:43.998" v="5910" actId="20577"/>
          <ac:spMkLst>
            <pc:docMk/>
            <pc:sldMk cId="3267775274" sldId="256"/>
            <ac:spMk id="12" creationId="{8A24547F-8A92-CDC5-A578-3733390534F2}"/>
          </ac:spMkLst>
        </pc:spChg>
        <pc:picChg chg="add mod modCrop">
          <ac:chgData name="Sud, Sumona SBOBNG-PTIY/ESAA1" userId="0ecd988d-3a14-4d79-a3c7-38829cf83294" providerId="ADAL" clId="{D0E4512B-2061-4003-B217-D762AF289481}" dt="2024-08-30T08:36:49.292" v="5921" actId="14100"/>
          <ac:picMkLst>
            <pc:docMk/>
            <pc:sldMk cId="3267775274" sldId="256"/>
            <ac:picMk id="3" creationId="{CC3FB125-CA43-6479-E0B9-FCD6A0C34C1F}"/>
          </ac:picMkLst>
        </pc:picChg>
      </pc:sldChg>
      <pc:sldChg chg="addSp delSp modSp mod">
        <pc:chgData name="Sud, Sumona SBOBNG-PTIY/ESAA1" userId="0ecd988d-3a14-4d79-a3c7-38829cf83294" providerId="ADAL" clId="{D0E4512B-2061-4003-B217-D762AF289481}" dt="2024-08-30T08:33:20.637" v="5882" actId="14100"/>
        <pc:sldMkLst>
          <pc:docMk/>
          <pc:sldMk cId="867832184" sldId="2147375589"/>
        </pc:sldMkLst>
        <pc:spChg chg="add del mod">
          <ac:chgData name="Sud, Sumona SBOBNG-PTIY/ESAA1" userId="0ecd988d-3a14-4d79-a3c7-38829cf83294" providerId="ADAL" clId="{D0E4512B-2061-4003-B217-D762AF289481}" dt="2024-08-30T08:31:09.933" v="5865" actId="478"/>
          <ac:spMkLst>
            <pc:docMk/>
            <pc:sldMk cId="867832184" sldId="2147375589"/>
            <ac:spMk id="7" creationId="{38745FC5-94D0-3E77-8DBC-7979078D895B}"/>
          </ac:spMkLst>
        </pc:spChg>
        <pc:spChg chg="mod">
          <ac:chgData name="Sud, Sumona SBOBNG-PTIY/ESAA1" userId="0ecd988d-3a14-4d79-a3c7-38829cf83294" providerId="ADAL" clId="{D0E4512B-2061-4003-B217-D762AF289481}" dt="2024-08-30T02:42:43.754" v="60" actId="403"/>
          <ac:spMkLst>
            <pc:docMk/>
            <pc:sldMk cId="867832184" sldId="2147375589"/>
            <ac:spMk id="10" creationId="{1119CB9E-042F-11E8-F683-654626D307B3}"/>
          </ac:spMkLst>
        </pc:spChg>
        <pc:spChg chg="mod">
          <ac:chgData name="Sud, Sumona SBOBNG-PTIY/ESAA1" userId="0ecd988d-3a14-4d79-a3c7-38829cf83294" providerId="ADAL" clId="{D0E4512B-2061-4003-B217-D762AF289481}" dt="2024-08-30T08:29:53.685" v="5856" actId="20577"/>
          <ac:spMkLst>
            <pc:docMk/>
            <pc:sldMk cId="867832184" sldId="2147375589"/>
            <ac:spMk id="11" creationId="{CE0DDF5F-FE47-F9A2-FE84-53B63DFF494D}"/>
          </ac:spMkLst>
        </pc:spChg>
        <pc:spChg chg="add del mod">
          <ac:chgData name="Sud, Sumona SBOBNG-PTIY/ESAA1" userId="0ecd988d-3a14-4d79-a3c7-38829cf83294" providerId="ADAL" clId="{D0E4512B-2061-4003-B217-D762AF289481}" dt="2024-08-30T08:32:00.030" v="5867" actId="478"/>
          <ac:spMkLst>
            <pc:docMk/>
            <pc:sldMk cId="867832184" sldId="2147375589"/>
            <ac:spMk id="12" creationId="{2F69C3EF-F8B8-01B1-7523-343737E70ABB}"/>
          </ac:spMkLst>
        </pc:spChg>
        <pc:spChg chg="add del mod">
          <ac:chgData name="Sud, Sumona SBOBNG-PTIY/ESAA1" userId="0ecd988d-3a14-4d79-a3c7-38829cf83294" providerId="ADAL" clId="{D0E4512B-2061-4003-B217-D762AF289481}" dt="2024-08-30T08:33:18.467" v="5881"/>
          <ac:spMkLst>
            <pc:docMk/>
            <pc:sldMk cId="867832184" sldId="2147375589"/>
            <ac:spMk id="17" creationId="{AA7DD562-8883-F6D7-0D4B-DA5F96508653}"/>
          </ac:spMkLst>
        </pc:spChg>
        <pc:picChg chg="add del mod">
          <ac:chgData name="Sud, Sumona SBOBNG-PTIY/ESAA1" userId="0ecd988d-3a14-4d79-a3c7-38829cf83294" providerId="ADAL" clId="{D0E4512B-2061-4003-B217-D762AF289481}" dt="2024-08-30T08:31:09.933" v="5865" actId="478"/>
          <ac:picMkLst>
            <pc:docMk/>
            <pc:sldMk cId="867832184" sldId="2147375589"/>
            <ac:picMk id="6" creationId="{45A36DD6-50AE-2E41-F5B8-C87FE16A749A}"/>
          </ac:picMkLst>
        </pc:picChg>
        <pc:picChg chg="add del mod">
          <ac:chgData name="Sud, Sumona SBOBNG-PTIY/ESAA1" userId="0ecd988d-3a14-4d79-a3c7-38829cf83294" providerId="ADAL" clId="{D0E4512B-2061-4003-B217-D762AF289481}" dt="2024-08-30T08:32:00.030" v="5867" actId="478"/>
          <ac:picMkLst>
            <pc:docMk/>
            <pc:sldMk cId="867832184" sldId="2147375589"/>
            <ac:picMk id="9" creationId="{54D07F22-F2C5-16A2-5EE1-463E49D18DAF}"/>
          </ac:picMkLst>
        </pc:picChg>
        <pc:picChg chg="add del mod">
          <ac:chgData name="Sud, Sumona SBOBNG-PTIY/ESAA1" userId="0ecd988d-3a14-4d79-a3c7-38829cf83294" providerId="ADAL" clId="{D0E4512B-2061-4003-B217-D762AF289481}" dt="2024-08-30T08:32:30.316" v="5870" actId="478"/>
          <ac:picMkLst>
            <pc:docMk/>
            <pc:sldMk cId="867832184" sldId="2147375589"/>
            <ac:picMk id="14" creationId="{F891DC76-B7AA-FFC3-9EE1-733D44D2F0A6}"/>
          </ac:picMkLst>
        </pc:picChg>
        <pc:picChg chg="add del mod">
          <ac:chgData name="Sud, Sumona SBOBNG-PTIY/ESAA1" userId="0ecd988d-3a14-4d79-a3c7-38829cf83294" providerId="ADAL" clId="{D0E4512B-2061-4003-B217-D762AF289481}" dt="2024-08-30T08:33:20.637" v="5882" actId="14100"/>
          <ac:picMkLst>
            <pc:docMk/>
            <pc:sldMk cId="867832184" sldId="2147375589"/>
            <ac:picMk id="16" creationId="{E2E22F5A-C351-F5B2-B479-AFCF4441C329}"/>
          </ac:picMkLst>
        </pc:picChg>
        <pc:picChg chg="add">
          <ac:chgData name="Sud, Sumona SBOBNG-PTIY/ESAA1" userId="0ecd988d-3a14-4d79-a3c7-38829cf83294" providerId="ADAL" clId="{D0E4512B-2061-4003-B217-D762AF289481}" dt="2024-08-30T08:29:54.005" v="5857"/>
          <ac:picMkLst>
            <pc:docMk/>
            <pc:sldMk cId="867832184" sldId="2147375589"/>
            <ac:picMk id="8194" creationId="{D8D91D4C-5AFB-32BA-852B-DFB9020FEA24}"/>
          </ac:picMkLst>
        </pc:picChg>
      </pc:sldChg>
      <pc:sldChg chg="addSp delSp modSp mod">
        <pc:chgData name="Sud, Sumona SBOBNG-PTIY/ESAA1" userId="0ecd988d-3a14-4d79-a3c7-38829cf83294" providerId="ADAL" clId="{D0E4512B-2061-4003-B217-D762AF289481}" dt="2024-08-30T02:50:05.825" v="551" actId="14100"/>
        <pc:sldMkLst>
          <pc:docMk/>
          <pc:sldMk cId="245881457" sldId="2147375597"/>
        </pc:sldMkLst>
        <pc:spChg chg="add del">
          <ac:chgData name="Sud, Sumona SBOBNG-PTIY/ESAA1" userId="0ecd988d-3a14-4d79-a3c7-38829cf83294" providerId="ADAL" clId="{D0E4512B-2061-4003-B217-D762AF289481}" dt="2024-08-30T02:46:05.407" v="285" actId="478"/>
          <ac:spMkLst>
            <pc:docMk/>
            <pc:sldMk cId="245881457" sldId="2147375597"/>
            <ac:spMk id="2" creationId="{9D07FA4B-8B95-4218-0A4C-A4834123396D}"/>
          </ac:spMkLst>
        </pc:spChg>
        <pc:spChg chg="add del mod">
          <ac:chgData name="Sud, Sumona SBOBNG-PTIY/ESAA1" userId="0ecd988d-3a14-4d79-a3c7-38829cf83294" providerId="ADAL" clId="{D0E4512B-2061-4003-B217-D762AF289481}" dt="2024-08-30T02:49:35.498" v="543" actId="478"/>
          <ac:spMkLst>
            <pc:docMk/>
            <pc:sldMk cId="245881457" sldId="2147375597"/>
            <ac:spMk id="11" creationId="{DE9F1BE0-7910-FA1B-DCE8-56EFD1E4FC09}"/>
          </ac:spMkLst>
        </pc:spChg>
        <pc:spChg chg="add del mod">
          <ac:chgData name="Sud, Sumona SBOBNG-PTIY/ESAA1" userId="0ecd988d-3a14-4d79-a3c7-38829cf83294" providerId="ADAL" clId="{D0E4512B-2061-4003-B217-D762AF289481}" dt="2024-08-30T02:46:12.337" v="288" actId="20577"/>
          <ac:spMkLst>
            <pc:docMk/>
            <pc:sldMk cId="245881457" sldId="2147375597"/>
            <ac:spMk id="12" creationId="{E53E5C3F-4D2B-B85F-E592-E58E032C664C}"/>
          </ac:spMkLst>
        </pc:spChg>
        <pc:picChg chg="add del mod">
          <ac:chgData name="Sud, Sumona SBOBNG-PTIY/ESAA1" userId="0ecd988d-3a14-4d79-a3c7-38829cf83294" providerId="ADAL" clId="{D0E4512B-2061-4003-B217-D762AF289481}" dt="2024-08-30T02:49:37.609" v="544" actId="478"/>
          <ac:picMkLst>
            <pc:docMk/>
            <pc:sldMk cId="245881457" sldId="2147375597"/>
            <ac:picMk id="6" creationId="{2392BB77-8CDF-40BE-6FA4-6C0ED27D88B6}"/>
          </ac:picMkLst>
        </pc:picChg>
        <pc:picChg chg="add mod">
          <ac:chgData name="Sud, Sumona SBOBNG-PTIY/ESAA1" userId="0ecd988d-3a14-4d79-a3c7-38829cf83294" providerId="ADAL" clId="{D0E4512B-2061-4003-B217-D762AF289481}" dt="2024-08-30T02:50:05.825" v="551" actId="14100"/>
          <ac:picMkLst>
            <pc:docMk/>
            <pc:sldMk cId="245881457" sldId="2147375597"/>
            <ac:picMk id="13" creationId="{48114246-410A-F257-55FB-6F6B73EA3980}"/>
          </ac:picMkLst>
        </pc:picChg>
      </pc:sldChg>
      <pc:sldChg chg="addSp modSp mod">
        <pc:chgData name="Sud, Sumona SBOBNG-PTIY/ESAA1" userId="0ecd988d-3a14-4d79-a3c7-38829cf83294" providerId="ADAL" clId="{D0E4512B-2061-4003-B217-D762AF289481}" dt="2024-08-30T02:53:57.162" v="998" actId="14100"/>
        <pc:sldMkLst>
          <pc:docMk/>
          <pc:sldMk cId="1181112711" sldId="2147375600"/>
        </pc:sldMkLst>
        <pc:spChg chg="mod">
          <ac:chgData name="Sud, Sumona SBOBNG-PTIY/ESAA1" userId="0ecd988d-3a14-4d79-a3c7-38829cf83294" providerId="ADAL" clId="{D0E4512B-2061-4003-B217-D762AF289481}" dt="2024-08-30T02:52:16.097" v="987" actId="15"/>
          <ac:spMkLst>
            <pc:docMk/>
            <pc:sldMk cId="1181112711" sldId="2147375600"/>
            <ac:spMk id="11" creationId="{DE9F1BE0-7910-FA1B-DCE8-56EFD1E4FC09}"/>
          </ac:spMkLst>
        </pc:spChg>
        <pc:spChg chg="mod">
          <ac:chgData name="Sud, Sumona SBOBNG-PTIY/ESAA1" userId="0ecd988d-3a14-4d79-a3c7-38829cf83294" providerId="ADAL" clId="{D0E4512B-2061-4003-B217-D762AF289481}" dt="2024-08-30T02:53:38.647" v="992" actId="20577"/>
          <ac:spMkLst>
            <pc:docMk/>
            <pc:sldMk cId="1181112711" sldId="2147375600"/>
            <ac:spMk id="12" creationId="{E53E5C3F-4D2B-B85F-E592-E58E032C664C}"/>
          </ac:spMkLst>
        </pc:spChg>
        <pc:picChg chg="add mod">
          <ac:chgData name="Sud, Sumona SBOBNG-PTIY/ESAA1" userId="0ecd988d-3a14-4d79-a3c7-38829cf83294" providerId="ADAL" clId="{D0E4512B-2061-4003-B217-D762AF289481}" dt="2024-08-30T02:53:57.162" v="998" actId="14100"/>
          <ac:picMkLst>
            <pc:docMk/>
            <pc:sldMk cId="1181112711" sldId="2147375600"/>
            <ac:picMk id="5" creationId="{5F8342F9-36F0-602F-E296-40370BD498D7}"/>
          </ac:picMkLst>
        </pc:picChg>
      </pc:sldChg>
      <pc:sldChg chg="addSp modSp mod">
        <pc:chgData name="Sud, Sumona SBOBNG-PTIY/ESAA1" userId="0ecd988d-3a14-4d79-a3c7-38829cf83294" providerId="ADAL" clId="{D0E4512B-2061-4003-B217-D762AF289481}" dt="2024-08-30T03:00:39.560" v="1327" actId="14100"/>
        <pc:sldMkLst>
          <pc:docMk/>
          <pc:sldMk cId="3233747587" sldId="2147375601"/>
        </pc:sldMkLst>
        <pc:spChg chg="mod">
          <ac:chgData name="Sud, Sumona SBOBNG-PTIY/ESAA1" userId="0ecd988d-3a14-4d79-a3c7-38829cf83294" providerId="ADAL" clId="{D0E4512B-2061-4003-B217-D762AF289481}" dt="2024-08-30T02:57:48.014" v="1320" actId="20577"/>
          <ac:spMkLst>
            <pc:docMk/>
            <pc:sldMk cId="3233747587" sldId="2147375601"/>
            <ac:spMk id="11" creationId="{DE9F1BE0-7910-FA1B-DCE8-56EFD1E4FC09}"/>
          </ac:spMkLst>
        </pc:spChg>
        <pc:spChg chg="mod">
          <ac:chgData name="Sud, Sumona SBOBNG-PTIY/ESAA1" userId="0ecd988d-3a14-4d79-a3c7-38829cf83294" providerId="ADAL" clId="{D0E4512B-2061-4003-B217-D762AF289481}" dt="2024-08-30T03:00:30.020" v="1322" actId="20577"/>
          <ac:spMkLst>
            <pc:docMk/>
            <pc:sldMk cId="3233747587" sldId="2147375601"/>
            <ac:spMk id="12" creationId="{E53E5C3F-4D2B-B85F-E592-E58E032C664C}"/>
          </ac:spMkLst>
        </pc:spChg>
        <pc:picChg chg="add mod">
          <ac:chgData name="Sud, Sumona SBOBNG-PTIY/ESAA1" userId="0ecd988d-3a14-4d79-a3c7-38829cf83294" providerId="ADAL" clId="{D0E4512B-2061-4003-B217-D762AF289481}" dt="2024-08-30T03:00:39.560" v="1327" actId="14100"/>
          <ac:picMkLst>
            <pc:docMk/>
            <pc:sldMk cId="3233747587" sldId="2147375601"/>
            <ac:picMk id="5" creationId="{6DF91B73-28D0-C77D-1D82-1E9EF936AD30}"/>
          </ac:picMkLst>
        </pc:picChg>
      </pc:sldChg>
      <pc:sldChg chg="addSp modSp mod">
        <pc:chgData name="Sud, Sumona SBOBNG-PTIY/ESAA1" userId="0ecd988d-3a14-4d79-a3c7-38829cf83294" providerId="ADAL" clId="{D0E4512B-2061-4003-B217-D762AF289481}" dt="2024-08-30T03:06:05.207" v="2372" actId="20577"/>
        <pc:sldMkLst>
          <pc:docMk/>
          <pc:sldMk cId="3971512377" sldId="2147375603"/>
        </pc:sldMkLst>
        <pc:spChg chg="mod">
          <ac:chgData name="Sud, Sumona SBOBNG-PTIY/ESAA1" userId="0ecd988d-3a14-4d79-a3c7-38829cf83294" providerId="ADAL" clId="{D0E4512B-2061-4003-B217-D762AF289481}" dt="2024-08-30T03:06:05.207" v="2372" actId="20577"/>
          <ac:spMkLst>
            <pc:docMk/>
            <pc:sldMk cId="3971512377" sldId="2147375603"/>
            <ac:spMk id="11" creationId="{DE9F1BE0-7910-FA1B-DCE8-56EFD1E4FC09}"/>
          </ac:spMkLst>
        </pc:spChg>
        <pc:spChg chg="mod">
          <ac:chgData name="Sud, Sumona SBOBNG-PTIY/ESAA1" userId="0ecd988d-3a14-4d79-a3c7-38829cf83294" providerId="ADAL" clId="{D0E4512B-2061-4003-B217-D762AF289481}" dt="2024-08-30T03:03:53.662" v="1969" actId="20577"/>
          <ac:spMkLst>
            <pc:docMk/>
            <pc:sldMk cId="3971512377" sldId="2147375603"/>
            <ac:spMk id="12" creationId="{E53E5C3F-4D2B-B85F-E592-E58E032C664C}"/>
          </ac:spMkLst>
        </pc:spChg>
        <pc:picChg chg="add mod">
          <ac:chgData name="Sud, Sumona SBOBNG-PTIY/ESAA1" userId="0ecd988d-3a14-4d79-a3c7-38829cf83294" providerId="ADAL" clId="{D0E4512B-2061-4003-B217-D762AF289481}" dt="2024-08-30T03:04:39.274" v="2134" actId="1035"/>
          <ac:picMkLst>
            <pc:docMk/>
            <pc:sldMk cId="3971512377" sldId="2147375603"/>
            <ac:picMk id="2050" creationId="{C0247821-8A53-CED0-350A-48DFA52859DC}"/>
          </ac:picMkLst>
        </pc:picChg>
      </pc:sldChg>
      <pc:sldChg chg="addSp modSp mod">
        <pc:chgData name="Sud, Sumona SBOBNG-PTIY/ESAA1" userId="0ecd988d-3a14-4d79-a3c7-38829cf83294" providerId="ADAL" clId="{D0E4512B-2061-4003-B217-D762AF289481}" dt="2024-08-30T03:08:54.445" v="2640" actId="14100"/>
        <pc:sldMkLst>
          <pc:docMk/>
          <pc:sldMk cId="3179805674" sldId="2147375604"/>
        </pc:sldMkLst>
        <pc:spChg chg="mod">
          <ac:chgData name="Sud, Sumona SBOBNG-PTIY/ESAA1" userId="0ecd988d-3a14-4d79-a3c7-38829cf83294" providerId="ADAL" clId="{D0E4512B-2061-4003-B217-D762AF289481}" dt="2024-08-30T03:07:00.641" v="2634" actId="20577"/>
          <ac:spMkLst>
            <pc:docMk/>
            <pc:sldMk cId="3179805674" sldId="2147375604"/>
            <ac:spMk id="11" creationId="{DE9F1BE0-7910-FA1B-DCE8-56EFD1E4FC09}"/>
          </ac:spMkLst>
        </pc:spChg>
        <pc:spChg chg="mod">
          <ac:chgData name="Sud, Sumona SBOBNG-PTIY/ESAA1" userId="0ecd988d-3a14-4d79-a3c7-38829cf83294" providerId="ADAL" clId="{D0E4512B-2061-4003-B217-D762AF289481}" dt="2024-08-30T03:08:44.449" v="2637" actId="20577"/>
          <ac:spMkLst>
            <pc:docMk/>
            <pc:sldMk cId="3179805674" sldId="2147375604"/>
            <ac:spMk id="12" creationId="{E53E5C3F-4D2B-B85F-E592-E58E032C664C}"/>
          </ac:spMkLst>
        </pc:spChg>
        <pc:picChg chg="add">
          <ac:chgData name="Sud, Sumona SBOBNG-PTIY/ESAA1" userId="0ecd988d-3a14-4d79-a3c7-38829cf83294" providerId="ADAL" clId="{D0E4512B-2061-4003-B217-D762AF289481}" dt="2024-08-30T03:07:02.614" v="2635"/>
          <ac:picMkLst>
            <pc:docMk/>
            <pc:sldMk cId="3179805674" sldId="2147375604"/>
            <ac:picMk id="3074" creationId="{6632A646-C842-ACF5-C310-2FFB22A573E1}"/>
          </ac:picMkLst>
        </pc:picChg>
        <pc:picChg chg="add mod">
          <ac:chgData name="Sud, Sumona SBOBNG-PTIY/ESAA1" userId="0ecd988d-3a14-4d79-a3c7-38829cf83294" providerId="ADAL" clId="{D0E4512B-2061-4003-B217-D762AF289481}" dt="2024-08-30T03:08:54.445" v="2640" actId="14100"/>
          <ac:picMkLst>
            <pc:docMk/>
            <pc:sldMk cId="3179805674" sldId="2147375604"/>
            <ac:picMk id="3076" creationId="{E9179D79-D5B4-0B9D-CDA5-3C8DF48F0116}"/>
          </ac:picMkLst>
        </pc:picChg>
      </pc:sldChg>
      <pc:sldChg chg="addSp modSp mod">
        <pc:chgData name="Sud, Sumona SBOBNG-PTIY/ESAA1" userId="0ecd988d-3a14-4d79-a3c7-38829cf83294" providerId="ADAL" clId="{D0E4512B-2061-4003-B217-D762AF289481}" dt="2024-08-30T03:14:25.544" v="2825" actId="1035"/>
        <pc:sldMkLst>
          <pc:docMk/>
          <pc:sldMk cId="86366928" sldId="2147375605"/>
        </pc:sldMkLst>
        <pc:spChg chg="mod">
          <ac:chgData name="Sud, Sumona SBOBNG-PTIY/ESAA1" userId="0ecd988d-3a14-4d79-a3c7-38829cf83294" providerId="ADAL" clId="{D0E4512B-2061-4003-B217-D762AF289481}" dt="2024-08-30T03:12:58.657" v="2814" actId="20577"/>
          <ac:spMkLst>
            <pc:docMk/>
            <pc:sldMk cId="86366928" sldId="2147375605"/>
            <ac:spMk id="11" creationId="{DE9F1BE0-7910-FA1B-DCE8-56EFD1E4FC09}"/>
          </ac:spMkLst>
        </pc:spChg>
        <pc:spChg chg="mod">
          <ac:chgData name="Sud, Sumona SBOBNG-PTIY/ESAA1" userId="0ecd988d-3a14-4d79-a3c7-38829cf83294" providerId="ADAL" clId="{D0E4512B-2061-4003-B217-D762AF289481}" dt="2024-08-30T03:14:11.299" v="2816" actId="6549"/>
          <ac:spMkLst>
            <pc:docMk/>
            <pc:sldMk cId="86366928" sldId="2147375605"/>
            <ac:spMk id="12" creationId="{E53E5C3F-4D2B-B85F-E592-E58E032C664C}"/>
          </ac:spMkLst>
        </pc:spChg>
        <pc:picChg chg="add mod">
          <ac:chgData name="Sud, Sumona SBOBNG-PTIY/ESAA1" userId="0ecd988d-3a14-4d79-a3c7-38829cf83294" providerId="ADAL" clId="{D0E4512B-2061-4003-B217-D762AF289481}" dt="2024-08-30T03:14:25.544" v="2825" actId="1035"/>
          <ac:picMkLst>
            <pc:docMk/>
            <pc:sldMk cId="86366928" sldId="2147375605"/>
            <ac:picMk id="4098" creationId="{7A05A9B9-8B82-EDFF-6EAE-313B213E7856}"/>
          </ac:picMkLst>
        </pc:picChg>
      </pc:sldChg>
      <pc:sldChg chg="addSp modSp mod">
        <pc:chgData name="Sud, Sumona SBOBNG-PTIY/ESAA1" userId="0ecd988d-3a14-4d79-a3c7-38829cf83294" providerId="ADAL" clId="{D0E4512B-2061-4003-B217-D762AF289481}" dt="2024-08-30T08:09:02.632" v="3059" actId="14100"/>
        <pc:sldMkLst>
          <pc:docMk/>
          <pc:sldMk cId="2340944189" sldId="2147375607"/>
        </pc:sldMkLst>
        <pc:spChg chg="mod">
          <ac:chgData name="Sud, Sumona SBOBNG-PTIY/ESAA1" userId="0ecd988d-3a14-4d79-a3c7-38829cf83294" providerId="ADAL" clId="{D0E4512B-2061-4003-B217-D762AF289481}" dt="2024-08-30T08:08:13.935" v="3050" actId="20577"/>
          <ac:spMkLst>
            <pc:docMk/>
            <pc:sldMk cId="2340944189" sldId="2147375607"/>
            <ac:spMk id="11" creationId="{DE9F1BE0-7910-FA1B-DCE8-56EFD1E4FC09}"/>
          </ac:spMkLst>
        </pc:spChg>
        <pc:spChg chg="mod">
          <ac:chgData name="Sud, Sumona SBOBNG-PTIY/ESAA1" userId="0ecd988d-3a14-4d79-a3c7-38829cf83294" providerId="ADAL" clId="{D0E4512B-2061-4003-B217-D762AF289481}" dt="2024-08-30T08:08:53.986" v="3056" actId="1076"/>
          <ac:spMkLst>
            <pc:docMk/>
            <pc:sldMk cId="2340944189" sldId="2147375607"/>
            <ac:spMk id="12" creationId="{E53E5C3F-4D2B-B85F-E592-E58E032C664C}"/>
          </ac:spMkLst>
        </pc:spChg>
        <pc:picChg chg="add mod">
          <ac:chgData name="Sud, Sumona SBOBNG-PTIY/ESAA1" userId="0ecd988d-3a14-4d79-a3c7-38829cf83294" providerId="ADAL" clId="{D0E4512B-2061-4003-B217-D762AF289481}" dt="2024-08-30T08:09:02.632" v="3059" actId="14100"/>
          <ac:picMkLst>
            <pc:docMk/>
            <pc:sldMk cId="2340944189" sldId="2147375607"/>
            <ac:picMk id="5122" creationId="{E4687220-C46C-0C5A-0649-C0A6C720B622}"/>
          </ac:picMkLst>
        </pc:picChg>
      </pc:sldChg>
      <pc:sldChg chg="addSp modSp mod">
        <pc:chgData name="Sud, Sumona SBOBNG-PTIY/ESAA1" userId="0ecd988d-3a14-4d79-a3c7-38829cf83294" providerId="ADAL" clId="{D0E4512B-2061-4003-B217-D762AF289481}" dt="2024-08-30T08:10:47.285" v="3390" actId="14100"/>
        <pc:sldMkLst>
          <pc:docMk/>
          <pc:sldMk cId="3159148252" sldId="2147375608"/>
        </pc:sldMkLst>
        <pc:spChg chg="mod">
          <ac:chgData name="Sud, Sumona SBOBNG-PTIY/ESAA1" userId="0ecd988d-3a14-4d79-a3c7-38829cf83294" providerId="ADAL" clId="{D0E4512B-2061-4003-B217-D762AF289481}" dt="2024-08-30T08:10:14.974" v="3385" actId="20577"/>
          <ac:spMkLst>
            <pc:docMk/>
            <pc:sldMk cId="3159148252" sldId="2147375608"/>
            <ac:spMk id="11" creationId="{DE9F1BE0-7910-FA1B-DCE8-56EFD1E4FC09}"/>
          </ac:spMkLst>
        </pc:spChg>
        <pc:spChg chg="mod">
          <ac:chgData name="Sud, Sumona SBOBNG-PTIY/ESAA1" userId="0ecd988d-3a14-4d79-a3c7-38829cf83294" providerId="ADAL" clId="{D0E4512B-2061-4003-B217-D762AF289481}" dt="2024-08-30T08:10:37.603" v="3387" actId="20577"/>
          <ac:spMkLst>
            <pc:docMk/>
            <pc:sldMk cId="3159148252" sldId="2147375608"/>
            <ac:spMk id="12" creationId="{E53E5C3F-4D2B-B85F-E592-E58E032C664C}"/>
          </ac:spMkLst>
        </pc:spChg>
        <pc:picChg chg="add mod">
          <ac:chgData name="Sud, Sumona SBOBNG-PTIY/ESAA1" userId="0ecd988d-3a14-4d79-a3c7-38829cf83294" providerId="ADAL" clId="{D0E4512B-2061-4003-B217-D762AF289481}" dt="2024-08-30T08:10:47.285" v="3390" actId="14100"/>
          <ac:picMkLst>
            <pc:docMk/>
            <pc:sldMk cId="3159148252" sldId="2147375608"/>
            <ac:picMk id="6146" creationId="{F0959BF0-498D-6527-79CB-A26FF9A4838C}"/>
          </ac:picMkLst>
        </pc:picChg>
      </pc:sldChg>
      <pc:sldChg chg="addSp modSp mod">
        <pc:chgData name="Sud, Sumona SBOBNG-PTIY/ESAA1" userId="0ecd988d-3a14-4d79-a3c7-38829cf83294" providerId="ADAL" clId="{D0E4512B-2061-4003-B217-D762AF289481}" dt="2024-08-30T08:14:51.645" v="3744" actId="14100"/>
        <pc:sldMkLst>
          <pc:docMk/>
          <pc:sldMk cId="3070204084" sldId="2147375609"/>
        </pc:sldMkLst>
        <pc:spChg chg="mod">
          <ac:chgData name="Sud, Sumona SBOBNG-PTIY/ESAA1" userId="0ecd988d-3a14-4d79-a3c7-38829cf83294" providerId="ADAL" clId="{D0E4512B-2061-4003-B217-D762AF289481}" dt="2024-08-30T08:13:54.307" v="3735" actId="313"/>
          <ac:spMkLst>
            <pc:docMk/>
            <pc:sldMk cId="3070204084" sldId="2147375609"/>
            <ac:spMk id="11" creationId="{DE9F1BE0-7910-FA1B-DCE8-56EFD1E4FC09}"/>
          </ac:spMkLst>
        </pc:spChg>
        <pc:spChg chg="mod">
          <ac:chgData name="Sud, Sumona SBOBNG-PTIY/ESAA1" userId="0ecd988d-3a14-4d79-a3c7-38829cf83294" providerId="ADAL" clId="{D0E4512B-2061-4003-B217-D762AF289481}" dt="2024-08-30T08:14:41.860" v="3738" actId="20577"/>
          <ac:spMkLst>
            <pc:docMk/>
            <pc:sldMk cId="3070204084" sldId="2147375609"/>
            <ac:spMk id="12" creationId="{E53E5C3F-4D2B-B85F-E592-E58E032C664C}"/>
          </ac:spMkLst>
        </pc:spChg>
        <pc:picChg chg="add mod">
          <ac:chgData name="Sud, Sumona SBOBNG-PTIY/ESAA1" userId="0ecd988d-3a14-4d79-a3c7-38829cf83294" providerId="ADAL" clId="{D0E4512B-2061-4003-B217-D762AF289481}" dt="2024-08-30T08:14:51.645" v="3744" actId="14100"/>
          <ac:picMkLst>
            <pc:docMk/>
            <pc:sldMk cId="3070204084" sldId="2147375609"/>
            <ac:picMk id="6" creationId="{B4FAEC3D-167A-0316-55BB-7FB9E851A9C3}"/>
          </ac:picMkLst>
        </pc:picChg>
      </pc:sldChg>
      <pc:sldChg chg="modSp mod">
        <pc:chgData name="Sud, Sumona SBOBNG-PTIY/ESAA1" userId="0ecd988d-3a14-4d79-a3c7-38829cf83294" providerId="ADAL" clId="{D0E4512B-2061-4003-B217-D762AF289481}" dt="2024-08-30T08:20:26.661" v="4455" actId="20577"/>
        <pc:sldMkLst>
          <pc:docMk/>
          <pc:sldMk cId="3754613224" sldId="2147375611"/>
        </pc:sldMkLst>
        <pc:spChg chg="mod">
          <ac:chgData name="Sud, Sumona SBOBNG-PTIY/ESAA1" userId="0ecd988d-3a14-4d79-a3c7-38829cf83294" providerId="ADAL" clId="{D0E4512B-2061-4003-B217-D762AF289481}" dt="2024-08-30T08:18:58.477" v="4099" actId="20577"/>
          <ac:spMkLst>
            <pc:docMk/>
            <pc:sldMk cId="3754613224" sldId="2147375611"/>
            <ac:spMk id="18" creationId="{6C73795A-BE20-7075-E9C6-6F145CE60794}"/>
          </ac:spMkLst>
        </pc:spChg>
        <pc:spChg chg="mod">
          <ac:chgData name="Sud, Sumona SBOBNG-PTIY/ESAA1" userId="0ecd988d-3a14-4d79-a3c7-38829cf83294" providerId="ADAL" clId="{D0E4512B-2061-4003-B217-D762AF289481}" dt="2024-08-30T08:19:40.427" v="4274" actId="20577"/>
          <ac:spMkLst>
            <pc:docMk/>
            <pc:sldMk cId="3754613224" sldId="2147375611"/>
            <ac:spMk id="19" creationId="{A3E2F4D1-4417-E244-3DB9-A6FF5866A342}"/>
          </ac:spMkLst>
        </pc:spChg>
        <pc:spChg chg="mod">
          <ac:chgData name="Sud, Sumona SBOBNG-PTIY/ESAA1" userId="0ecd988d-3a14-4d79-a3c7-38829cf83294" providerId="ADAL" clId="{D0E4512B-2061-4003-B217-D762AF289481}" dt="2024-08-30T08:20:26.661" v="4455" actId="20577"/>
          <ac:spMkLst>
            <pc:docMk/>
            <pc:sldMk cId="3754613224" sldId="2147375611"/>
            <ac:spMk id="20" creationId="{3EBEB0AC-D407-44FD-A74F-90F67F3D13C3}"/>
          </ac:spMkLst>
        </pc:spChg>
      </pc:sldChg>
      <pc:sldChg chg="addSp delSp modSp mod">
        <pc:chgData name="Sud, Sumona SBOBNG-PTIY/ESAA1" userId="0ecd988d-3a14-4d79-a3c7-38829cf83294" providerId="ADAL" clId="{D0E4512B-2061-4003-B217-D762AF289481}" dt="2024-08-30T08:35:30.389" v="5887" actId="27614"/>
        <pc:sldMkLst>
          <pc:docMk/>
          <pc:sldMk cId="1148838763" sldId="2147375613"/>
        </pc:sldMkLst>
        <pc:spChg chg="mod">
          <ac:chgData name="Sud, Sumona SBOBNG-PTIY/ESAA1" userId="0ecd988d-3a14-4d79-a3c7-38829cf83294" providerId="ADAL" clId="{D0E4512B-2061-4003-B217-D762AF289481}" dt="2024-08-30T08:23:09.613" v="4737" actId="20577"/>
          <ac:spMkLst>
            <pc:docMk/>
            <pc:sldMk cId="1148838763" sldId="2147375613"/>
            <ac:spMk id="11" creationId="{8CC1343B-2E39-FEFF-8FF6-46822F18B432}"/>
          </ac:spMkLst>
        </pc:spChg>
        <pc:spChg chg="mod">
          <ac:chgData name="Sud, Sumona SBOBNG-PTIY/ESAA1" userId="0ecd988d-3a14-4d79-a3c7-38829cf83294" providerId="ADAL" clId="{D0E4512B-2061-4003-B217-D762AF289481}" dt="2024-08-30T08:23:54.237" v="4741" actId="14100"/>
          <ac:spMkLst>
            <pc:docMk/>
            <pc:sldMk cId="1148838763" sldId="2147375613"/>
            <ac:spMk id="12" creationId="{5A873A1A-E63F-91AE-7D43-ED0F86870147}"/>
          </ac:spMkLst>
        </pc:spChg>
        <pc:picChg chg="add mod">
          <ac:chgData name="Sud, Sumona SBOBNG-PTIY/ESAA1" userId="0ecd988d-3a14-4d79-a3c7-38829cf83294" providerId="ADAL" clId="{D0E4512B-2061-4003-B217-D762AF289481}" dt="2024-08-30T08:35:30.389" v="5887" actId="27614"/>
          <ac:picMkLst>
            <pc:docMk/>
            <pc:sldMk cId="1148838763" sldId="2147375613"/>
            <ac:picMk id="6" creationId="{DDFA3643-0AB1-F789-027E-20E1FCA90E72}"/>
          </ac:picMkLst>
        </pc:picChg>
        <pc:picChg chg="add del mod">
          <ac:chgData name="Sud, Sumona SBOBNG-PTIY/ESAA1" userId="0ecd988d-3a14-4d79-a3c7-38829cf83294" providerId="ADAL" clId="{D0E4512B-2061-4003-B217-D762AF289481}" dt="2024-08-30T08:34:43.557" v="5883" actId="478"/>
          <ac:picMkLst>
            <pc:docMk/>
            <pc:sldMk cId="1148838763" sldId="2147375613"/>
            <ac:picMk id="7170" creationId="{32C14B7A-C2F0-B284-DF04-4C33602BE7FE}"/>
          </ac:picMkLst>
        </pc:picChg>
      </pc:sldChg>
      <pc:sldChg chg="modSp mod">
        <pc:chgData name="Sud, Sumona SBOBNG-PTIY/ESAA1" userId="0ecd988d-3a14-4d79-a3c7-38829cf83294" providerId="ADAL" clId="{D0E4512B-2061-4003-B217-D762AF289481}" dt="2024-08-30T08:29:17.352" v="5855" actId="20577"/>
        <pc:sldMkLst>
          <pc:docMk/>
          <pc:sldMk cId="3865850111" sldId="2147375614"/>
        </pc:sldMkLst>
        <pc:spChg chg="mod">
          <ac:chgData name="Sud, Sumona SBOBNG-PTIY/ESAA1" userId="0ecd988d-3a14-4d79-a3c7-38829cf83294" providerId="ADAL" clId="{D0E4512B-2061-4003-B217-D762AF289481}" dt="2024-08-30T08:29:17.352" v="5855" actId="20577"/>
          <ac:spMkLst>
            <pc:docMk/>
            <pc:sldMk cId="3865850111" sldId="2147375614"/>
            <ac:spMk id="6" creationId="{AC2F88D2-81D4-FAD4-568E-A3F495B0641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oleObject" Target="../embeddings/oleObject11.bin"/><Relationship Id="rId7" Type="http://schemas.openxmlformats.org/officeDocument/2006/relationships/image" Target="../media/image35.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png"/><Relationship Id="rId5" Type="http://schemas.openxmlformats.org/officeDocument/2006/relationships/hyperlink" Target="https://github.com/Sumo01/EMS-UnextShell.git" TargetMode="External"/><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3.jp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hyperlink" Target="https://desarrollohumanoempresarialc.wordpress.com/2019/06/26/servicios-compartidos-empresas-afiliados/" TargetMode="External"/><Relationship Id="rId5" Type="http://schemas.openxmlformats.org/officeDocument/2006/relationships/image" Target="../media/image23.gif"/><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jp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jp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jp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 </a:t>
            </a:r>
            <a:r>
              <a:rPr lang="en-US" sz="2000" dirty="0"/>
              <a:t>[26-Aug-24 to 30-Aug-24]</a:t>
            </a:r>
            <a:endParaRPr lang="en-US" sz="4000" dirty="0"/>
          </a:p>
        </p:txBody>
      </p:sp>
      <p:sp>
        <p:nvSpPr>
          <p:cNvPr id="12" name="TextBox 11">
            <a:extLst>
              <a:ext uri="{FF2B5EF4-FFF2-40B4-BE49-F238E27FC236}">
                <a16:creationId xmlns:a16="http://schemas.microsoft.com/office/drawing/2014/main" id="{8A24547F-8A92-CDC5-A578-3733390534F2}"/>
              </a:ext>
            </a:extLst>
          </p:cNvPr>
          <p:cNvSpPr txBox="1"/>
          <p:nvPr/>
        </p:nvSpPr>
        <p:spPr>
          <a:xfrm>
            <a:off x="759976" y="4825771"/>
            <a:ext cx="8299182" cy="523220"/>
          </a:xfrm>
          <a:prstGeom prst="rect">
            <a:avLst/>
          </a:prstGeom>
          <a:noFill/>
        </p:spPr>
        <p:txBody>
          <a:bodyPr wrap="square" rtlCol="0">
            <a:spAutoFit/>
          </a:bodyPr>
          <a:lstStyle/>
          <a:p>
            <a:r>
              <a:rPr lang="en-US" sz="2800" b="1" dirty="0">
                <a:solidFill>
                  <a:schemeClr val="bg1"/>
                </a:solidFill>
              </a:rPr>
              <a:t>Sumona Sud</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3" name="Picture 2" descr="A person with long hair smiling&#10;&#10;Description automatically generated">
            <a:extLst>
              <a:ext uri="{FF2B5EF4-FFF2-40B4-BE49-F238E27FC236}">
                <a16:creationId xmlns:a16="http://schemas.microsoft.com/office/drawing/2014/main" id="{CC3FB125-CA43-6479-E0B9-FCD6A0C34C1F}"/>
              </a:ext>
            </a:extLst>
          </p:cNvPr>
          <p:cNvPicPr>
            <a:picLocks noChangeAspect="1"/>
          </p:cNvPicPr>
          <p:nvPr/>
        </p:nvPicPr>
        <p:blipFill rotWithShape="1">
          <a:blip r:embed="rId2">
            <a:extLst>
              <a:ext uri="{28A0092B-C50C-407E-A947-70E740481C1C}">
                <a14:useLocalDpi xmlns:a14="http://schemas.microsoft.com/office/drawing/2010/main" val="0"/>
              </a:ext>
            </a:extLst>
          </a:blip>
          <a:srcRect t="12069" b="23677"/>
          <a:stretch/>
        </p:blipFill>
        <p:spPr>
          <a:xfrm>
            <a:off x="9150505" y="325119"/>
            <a:ext cx="2741058" cy="2489201"/>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sz="2000" dirty="0"/>
          </a:p>
          <a:p>
            <a:pPr marL="0" indent="0">
              <a:buNone/>
            </a:pPr>
            <a:r>
              <a:rPr lang="en-GB" sz="2000" dirty="0"/>
              <a:t>Agile methodologies, such as Scrum and Kanban, emphasize iterative development, flexibility, and collaboration. Key terminologies include sprints, backlogs, and user stories. In a corporate environment, Agile fosters adaptability, enhances team communication, and accelerates project delivery, leading to more efficient and responsive workflows. This is key in the corporate world like Shell.</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Image result for Agile sdlc">
            <a:extLst>
              <a:ext uri="{FF2B5EF4-FFF2-40B4-BE49-F238E27FC236}">
                <a16:creationId xmlns:a16="http://schemas.microsoft.com/office/drawing/2014/main" id="{7A05A9B9-8B82-EDFF-6EAE-313B213E785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1934" y="2071155"/>
            <a:ext cx="4878705" cy="36184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Overcoming my nervousness of speaking in front of all the peers was a challenge I faced. Developing the right mindset and understanding team collaboration is important.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99100"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122" name="Picture 2" descr="Image result for overcoming nervousness pics">
            <a:extLst>
              <a:ext uri="{FF2B5EF4-FFF2-40B4-BE49-F238E27FC236}">
                <a16:creationId xmlns:a16="http://schemas.microsoft.com/office/drawing/2014/main" id="{E4687220-C46C-0C5A-0649-C0A6C720B6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40818" y="1998663"/>
            <a:ext cx="5021262" cy="38006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A challenge I faced is implementing active listening with my peers. Making the right decisions in a social corporate setting is extremely important and can make a big impact on your teamwork and collaboration.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146" name="Picture 2" descr="Image result for active listening">
            <a:extLst>
              <a:ext uri="{FF2B5EF4-FFF2-40B4-BE49-F238E27FC236}">
                <a16:creationId xmlns:a16="http://schemas.microsoft.com/office/drawing/2014/main" id="{F0959BF0-498D-6527-79CB-A26FF9A4838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5428" y="2011044"/>
            <a:ext cx="5014913" cy="3749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orking with Agile Methodology and implanting appropriate scrum techniques was a first for me. Through Azure </a:t>
            </a:r>
            <a:r>
              <a:rPr lang="en-US" sz="2000" dirty="0" err="1"/>
              <a:t>devops</a:t>
            </a:r>
            <a:r>
              <a:rPr lang="en-US" sz="2000" dirty="0"/>
              <a:t> we were able to effectively understand how sprints, scrum and team collaboration on projects occurs. </a:t>
            </a:r>
            <a:r>
              <a:rPr lang="en-GB" sz="2000" dirty="0"/>
              <a:t>We also created UI solutions for our project.</a:t>
            </a:r>
          </a:p>
          <a:p>
            <a:pPr marL="0" indent="0">
              <a:buNone/>
            </a:pPr>
            <a:endParaRPr lang="en-GB" sz="2000" dirty="0"/>
          </a:p>
          <a:p>
            <a:pPr marL="0" indent="0">
              <a:buNone/>
            </a:pPr>
            <a:r>
              <a:rPr lang="en-US" sz="2000" dirty="0">
                <a:hlinkClick r:id="rId5"/>
              </a:rPr>
              <a:t>GitHub Repo- Sumona Sud</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B4FAEC3D-167A-0316-55BB-7FB9E851A9C3}"/>
              </a:ext>
            </a:extLst>
          </p:cNvPr>
          <p:cNvPicPr>
            <a:picLocks noChangeAspect="1"/>
          </p:cNvPicPr>
          <p:nvPr/>
        </p:nvPicPr>
        <p:blipFill>
          <a:blip r:embed="rId8"/>
          <a:stretch>
            <a:fillRect/>
          </a:stretch>
        </p:blipFill>
        <p:spPr>
          <a:xfrm>
            <a:off x="6543039" y="2061862"/>
            <a:ext cx="5080625" cy="3515978"/>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Understanding the importance of soft skills and implementing them in the corporate world. Evolving my mindset and practicing confidence for efficiency in team collaboration in further meetings. Revising the terminologies frequently used in BA and the agile methodologie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he timeline for the </a:t>
            </a:r>
            <a:r>
              <a:rPr lang="en-US" sz="2000" dirty="0" err="1">
                <a:effectLst>
                  <a:outerShdw blurRad="38100" dist="38100" dir="2700000" algn="tl">
                    <a:srgbClr val="000000">
                      <a:alpha val="43137"/>
                    </a:srgbClr>
                  </a:outerShdw>
                </a:effectLst>
              </a:rPr>
              <a:t>softskills</a:t>
            </a:r>
            <a:r>
              <a:rPr lang="en-US" sz="2000" dirty="0">
                <a:effectLst>
                  <a:outerShdw blurRad="38100" dist="38100" dir="2700000" algn="tl">
                    <a:srgbClr val="000000">
                      <a:alpha val="43137"/>
                    </a:srgbClr>
                  </a:outerShdw>
                </a:effectLst>
              </a:rPr>
              <a:t> is the course of the first week of September and the BA terminologies have been understood during this week.	</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Have understood much of the soft skills. Instilling confidence in myself and my ideas can be worked on. Have understood the BA terminologie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how ”Your” learning was fun this week</a:t>
            </a:r>
          </a:p>
          <a:p>
            <a:pPr marL="0" indent="0">
              <a:buFont typeface="Arial" panose="020B0604020202020204" pitchFamily="34" charset="0"/>
              <a:buNone/>
            </a:pPr>
            <a:endParaRPr lang="en-US" sz="2000" dirty="0"/>
          </a:p>
          <a:p>
            <a:r>
              <a:rPr lang="en-US" sz="2000" dirty="0"/>
              <a:t>A group activity where we had to do team presentation was very fun.</a:t>
            </a:r>
          </a:p>
          <a:p>
            <a:r>
              <a:rPr lang="en-US" sz="2000" dirty="0"/>
              <a:t>The topic for our team was a persuasive presentation and we chose to persuade our peers to buy a product called “</a:t>
            </a:r>
            <a:r>
              <a:rPr lang="en-US" sz="2000" dirty="0" err="1"/>
              <a:t>SoggySocks</a:t>
            </a:r>
            <a:r>
              <a:rPr lang="en-US" sz="2000" dirty="0"/>
              <a:t>”</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group of people posing for a photo&#10;&#10;Description automatically generated">
            <a:extLst>
              <a:ext uri="{FF2B5EF4-FFF2-40B4-BE49-F238E27FC236}">
                <a16:creationId xmlns:a16="http://schemas.microsoft.com/office/drawing/2014/main" id="{DDFA3643-0AB1-F789-027E-20E1FCA90E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70019" y="2122338"/>
            <a:ext cx="5012267" cy="375920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In conclusion, throughout the course of the first week of the </a:t>
            </a:r>
            <a:r>
              <a:rPr lang="en-US" sz="2000" dirty="0" err="1"/>
              <a:t>Unext</a:t>
            </a:r>
            <a:r>
              <a:rPr lang="en-US" sz="2000" dirty="0"/>
              <a:t> Training Bootcamp I learnt the importance of confidence and team work in the work place. I learnt about having the right mindset when you step into the workplace and creating the right environment for everyone. Understanding BA terminologies were key for myself as well, in the BA role.</a:t>
            </a:r>
          </a:p>
          <a:p>
            <a:pPr>
              <a:lnSpc>
                <a:spcPct val="100000"/>
              </a:lnSpc>
            </a:pPr>
            <a:endParaRPr lang="en-US" sz="2000" dirty="0"/>
          </a:p>
          <a:p>
            <a:pPr>
              <a:lnSpc>
                <a:spcPct val="100000"/>
              </a:lnSpc>
            </a:pPr>
            <a:r>
              <a:rPr lang="en-US" sz="1800" dirty="0"/>
              <a:t>The next few topics are key in any developers work life. These are the </a:t>
            </a:r>
            <a:r>
              <a:rPr lang="en-US" sz="1800" dirty="0" err="1"/>
              <a:t>devops</a:t>
            </a:r>
            <a:r>
              <a:rPr lang="en-US" sz="1800" dirty="0"/>
              <a:t>, cloud, DBMS topics which are very important. Being a BA, I would have to have knowledge of all these topics to effectively contribute to my team.</a:t>
            </a:r>
          </a:p>
          <a:p>
            <a:pPr>
              <a:lnSpc>
                <a:spcPct val="100000"/>
              </a:lnSpc>
            </a:pPr>
            <a:endParaRPr lang="en-US" sz="1800" dirty="0"/>
          </a:p>
          <a:p>
            <a:pPr>
              <a:lnSpc>
                <a:spcPct val="100000"/>
              </a:lnSpc>
            </a:pPr>
            <a:r>
              <a:rPr lang="en-US" sz="1800" dirty="0"/>
              <a:t>In the last two days of week1, we learnt about Software lifecycle models and business analysis. These are the necessary to know before delving into developing any project in the IT realm as they deal with the planning of the projects before implementing the </a:t>
            </a:r>
            <a:r>
              <a:rPr lang="en-US" sz="1800" dirty="0" err="1"/>
              <a:t>devops</a:t>
            </a:r>
            <a:r>
              <a:rPr lang="en-US" sz="1800" dirty="0"/>
              <a:t>/cloud/DBMS functionalities.</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4000" dirty="0"/>
              <a:t>Drive with ambition, deliver with dedication, and uphold quality.</a:t>
            </a:r>
            <a:endParaRPr lang="en-US" sz="4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6" name="Picture 15" descr="A cartoon of a person sitting at a desk with a computer&#10;&#10;Description automatically generated">
            <a:extLst>
              <a:ext uri="{FF2B5EF4-FFF2-40B4-BE49-F238E27FC236}">
                <a16:creationId xmlns:a16="http://schemas.microsoft.com/office/drawing/2014/main" id="{E2E22F5A-C351-F5B2-B479-AFCF4441C329}"/>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6705600" y="2047240"/>
            <a:ext cx="4632960" cy="351028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2000" dirty="0"/>
              <a:t>Importance of having the right mindset</a:t>
            </a:r>
          </a:p>
          <a:p>
            <a:r>
              <a:rPr lang="en-US" sz="2000" dirty="0"/>
              <a:t>Being open to criticism and feedback</a:t>
            </a:r>
          </a:p>
          <a:p>
            <a:r>
              <a:rPr lang="en-US" sz="2000" dirty="0"/>
              <a:t>Learning the importance of teamwork and collaboration</a:t>
            </a:r>
          </a:p>
          <a:p>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3" name="Picture 12" descr="A group of people around a light bulb&#10;&#10;Description automatically generated">
            <a:extLst>
              <a:ext uri="{FF2B5EF4-FFF2-40B4-BE49-F238E27FC236}">
                <a16:creationId xmlns:a16="http://schemas.microsoft.com/office/drawing/2014/main" id="{48114246-410A-F257-55FB-6F6B73EA398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18592" y="1971729"/>
            <a:ext cx="5063808" cy="3854768"/>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2000" dirty="0"/>
              <a:t>Confidence and the right way to present</a:t>
            </a:r>
          </a:p>
          <a:p>
            <a:r>
              <a:rPr lang="en-US" sz="2000" dirty="0"/>
              <a:t>Building up confidence and keeping your audience engaged with your presentations</a:t>
            </a:r>
          </a:p>
          <a:p>
            <a:r>
              <a:rPr lang="en-US" sz="2000" dirty="0"/>
              <a:t>Presentations are key in all corporate settings, learning how to make the right presentations can help deliver </a:t>
            </a:r>
            <a:r>
              <a:rPr lang="en-US" sz="2000" dirty="0" err="1"/>
              <a:t>udpates</a:t>
            </a:r>
            <a:r>
              <a:rPr lang="en-US" sz="2000" dirty="0"/>
              <a:t> in an engaging way</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person standing in front of a group of people sitting at a table&#10;&#10;Description automatically generated">
            <a:extLst>
              <a:ext uri="{FF2B5EF4-FFF2-40B4-BE49-F238E27FC236}">
                <a16:creationId xmlns:a16="http://schemas.microsoft.com/office/drawing/2014/main" id="{5F8342F9-36F0-602F-E296-40370BD498D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09177" y="2012632"/>
            <a:ext cx="4942743" cy="3743863"/>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2000" dirty="0"/>
              <a:t>Agile methodologies and terminologies</a:t>
            </a:r>
          </a:p>
          <a:p>
            <a:r>
              <a:rPr lang="en-US" sz="2000" dirty="0"/>
              <a:t>Understanding the project development lifecycle and its various stages</a:t>
            </a:r>
          </a:p>
          <a:p>
            <a:r>
              <a:rPr lang="en-US" sz="2000" dirty="0"/>
              <a:t>Projects in the IT Department all deal with these terminologies </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group of people working on a graph&#10;&#10;Description automatically generated">
            <a:extLst>
              <a:ext uri="{FF2B5EF4-FFF2-40B4-BE49-F238E27FC236}">
                <a16:creationId xmlns:a16="http://schemas.microsoft.com/office/drawing/2014/main" id="{6DF91B73-28D0-C77D-1D82-1E9EF936AD3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09176" y="2022792"/>
            <a:ext cx="4912263" cy="3687128"/>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Learning the soft skills and important vocabulary that is required in a corporate setting was key. Also, I understood the importance of a good mindset as well as a learning behavior. We will implement these learnings every day in shell. </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Image result for implement learnings in a corporate world">
            <a:extLst>
              <a:ext uri="{FF2B5EF4-FFF2-40B4-BE49-F238E27FC236}">
                <a16:creationId xmlns:a16="http://schemas.microsoft.com/office/drawing/2014/main" id="{C0247821-8A53-CED0-350A-48DFA52859D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67804" y="2021395"/>
            <a:ext cx="5045075" cy="37217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r>
              <a:rPr lang="en-US" sz="2000" dirty="0"/>
              <a:t>Teamwork and collaboration are key throughout shell. Learning how to effectively communicate and collaborate with all the team members leads to a more productive and healthy work environment. Through the trainings, I have learnt how not only to confidently put up my points but also to actively listen to the points of my peers and team members. This learning is key to having a good career at Shell.</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6" name="Picture 4" descr="7 Examples of Teamwork &amp; Collaboration in the Workplace (2024)">
            <a:extLst>
              <a:ext uri="{FF2B5EF4-FFF2-40B4-BE49-F238E27FC236}">
                <a16:creationId xmlns:a16="http://schemas.microsoft.com/office/drawing/2014/main" id="{E9179D79-D5B4-0B9D-CDA5-3C8DF48F01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46312" y="1970594"/>
            <a:ext cx="5059680" cy="38104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045</TotalTime>
  <Words>860</Words>
  <Application>Microsoft Office PowerPoint</Application>
  <PresentationFormat>Widescreen</PresentationFormat>
  <Paragraphs>80</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ud, Sumona SBOBNG-PTIY/ESAA1</cp:lastModifiedBy>
  <cp:revision>499</cp:revision>
  <dcterms:created xsi:type="dcterms:W3CDTF">2022-01-18T12:35:56Z</dcterms:created>
  <dcterms:modified xsi:type="dcterms:W3CDTF">2024-08-30T08:3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